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sldIdLst>
    <p:sldId id="257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89" d="100"/>
          <a:sy n="89" d="100"/>
        </p:scale>
        <p:origin x="621" y="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4.jpeg"/><Relationship Id="rId4" Type="http://schemas.openxmlformats.org/officeDocument/2006/relationships/tags" Target="../tags/tag5.xml"/><Relationship Id="rId9" Type="http://schemas.openxmlformats.org/officeDocument/2006/relationships/image" Target="../media/image6.jpe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image" Target="../media/image6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intercal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Espace réservé du texte 10"/>
          <p:cNvSpPr>
            <a:spLocks noGrp="1"/>
          </p:cNvSpPr>
          <p:nvPr userDrawn="1"/>
        </p:nvSpPr>
        <p:spPr bwMode="gray">
          <a:xfrm>
            <a:off x="9596987" y="4902353"/>
            <a:ext cx="1639276" cy="1550987"/>
          </a:xfrm>
          <a:prstGeom prst="roundRect">
            <a:avLst>
              <a:gd name="adj" fmla="val 8086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139700" algn="t" rotWithShape="0">
              <a:prstClr val="black">
                <a:alpha val="29000"/>
              </a:prstClr>
            </a:outerShdw>
          </a:effectLst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623888" indent="-174625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chemeClr val="accent2"/>
              </a:buClr>
              <a:buFont typeface="Arial" pitchFamily="34" charset="0"/>
              <a:buChar char="­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62388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623888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endParaRPr lang="fr-FR" sz="1662" dirty="0">
              <a:solidFill>
                <a:srgbClr val="86BE4E"/>
              </a:solidFill>
            </a:endParaRPr>
          </a:p>
        </p:txBody>
      </p:sp>
      <p:sp>
        <p:nvSpPr>
          <p:cNvPr id="13" name="Espace réservé du texte 19"/>
          <p:cNvSpPr>
            <a:spLocks noGrp="1"/>
          </p:cNvSpPr>
          <p:nvPr>
            <p:ph type="body" sz="quarter" idx="10"/>
          </p:nvPr>
        </p:nvSpPr>
        <p:spPr>
          <a:xfrm>
            <a:off x="929942" y="3111728"/>
            <a:ext cx="9793087" cy="1261884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4062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 noProof="0" dirty="0" smtClean="0"/>
              <a:t>Cliquez pour modifier les styles du texte du masque</a:t>
            </a:r>
          </a:p>
        </p:txBody>
      </p:sp>
      <p:sp>
        <p:nvSpPr>
          <p:cNvPr id="14" name="Espace réservé du texte 21"/>
          <p:cNvSpPr>
            <a:spLocks noGrp="1"/>
          </p:cNvSpPr>
          <p:nvPr>
            <p:ph type="body" sz="quarter" idx="11"/>
          </p:nvPr>
        </p:nvSpPr>
        <p:spPr>
          <a:xfrm>
            <a:off x="1325586" y="4469050"/>
            <a:ext cx="8905847" cy="400110"/>
          </a:xfrm>
        </p:spPr>
        <p:txBody>
          <a:bodyPr>
            <a:noAutofit/>
          </a:bodyPr>
          <a:lstStyle>
            <a:lvl1pPr marL="0" marR="0" indent="0" algn="ctr" defTabSz="844078" rtl="0" eaLnBrk="1" fontAlgn="auto" latinLnBrk="0" hangingPunct="1">
              <a:lnSpc>
                <a:spcPts val="221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15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 noProof="0" smtClean="0"/>
              <a:t>Cliquez pour modifier les styles du texte du masque</a:t>
            </a:r>
          </a:p>
        </p:txBody>
      </p:sp>
      <p:sp>
        <p:nvSpPr>
          <p:cNvPr id="15" name="Espace réservé du texte 27"/>
          <p:cNvSpPr>
            <a:spLocks noGrp="1"/>
          </p:cNvSpPr>
          <p:nvPr>
            <p:ph type="body" sz="quarter" idx="12"/>
          </p:nvPr>
        </p:nvSpPr>
        <p:spPr>
          <a:xfrm>
            <a:off x="486815" y="5517232"/>
            <a:ext cx="3956567" cy="571504"/>
          </a:xfrm>
        </p:spPr>
        <p:txBody>
          <a:bodyPr anchor="ctr">
            <a:no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fr-FR" dirty="0" smtClean="0"/>
              <a:t>Cliquez pour modifie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1375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4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McK Title Elements"/>
          <p:cNvGrpSpPr>
            <a:grpSpLocks/>
          </p:cNvGrpSpPr>
          <p:nvPr/>
        </p:nvGrpSpPr>
        <p:grpSpPr bwMode="auto">
          <a:xfrm>
            <a:off x="3591728" y="2183426"/>
            <a:ext cx="6840045" cy="4541766"/>
            <a:chOff x="1663" y="1348"/>
            <a:chExt cx="3167" cy="2804"/>
          </a:xfrm>
        </p:grpSpPr>
        <p:sp>
          <p:nvSpPr>
            <p:cNvPr id="7" name="McK Confidential" hidden="1"/>
            <p:cNvSpPr txBox="1">
              <a:spLocks noChangeArrowheads="1"/>
            </p:cNvSpPr>
            <p:nvPr userDrawn="1"/>
          </p:nvSpPr>
          <p:spPr bwMode="gray">
            <a:xfrm>
              <a:off x="1663" y="1348"/>
              <a:ext cx="936" cy="1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292" dirty="0">
                  <a:solidFill>
                    <a:srgbClr val="6D6F71"/>
                  </a:solidFill>
                  <a:latin typeface="Arial" charset="0"/>
                  <a:cs typeface="Arial"/>
                </a:rPr>
                <a:t>CONFIDENTIAL</a:t>
              </a:r>
            </a:p>
          </p:txBody>
        </p:sp>
        <p:sp>
          <p:nvSpPr>
            <p:cNvPr id="8" name="McK Document" hidden="1"/>
            <p:cNvSpPr txBox="1">
              <a:spLocks noChangeArrowheads="1"/>
            </p:cNvSpPr>
            <p:nvPr userDrawn="1"/>
          </p:nvSpPr>
          <p:spPr bwMode="gray">
            <a:xfrm>
              <a:off x="1663" y="3062"/>
              <a:ext cx="3167" cy="1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292" dirty="0">
                  <a:solidFill>
                    <a:srgbClr val="6D6F71"/>
                  </a:solidFill>
                  <a:latin typeface="Arial" charset="0"/>
                  <a:cs typeface="Arial"/>
                </a:rPr>
                <a:t>Document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gray">
            <a:xfrm>
              <a:off x="1663" y="3216"/>
              <a:ext cx="3167" cy="1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292" dirty="0">
                  <a:solidFill>
                    <a:srgbClr val="6D6F71"/>
                  </a:solidFill>
                  <a:latin typeface="Arial" charset="0"/>
                  <a:cs typeface="Arial"/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gray">
            <a:xfrm>
              <a:off x="1663" y="3915"/>
              <a:ext cx="3167" cy="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757329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This report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is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solely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for the use of client personnel.  No part of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it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may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be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circulated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,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quoted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, or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reproduced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for distribution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outside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the client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organization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without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prior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written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approval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from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McKinsey &amp;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Company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. This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material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was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used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by McKinsey &amp;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Company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during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an oral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presentation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;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it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is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not a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complete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record of the discussion</a:t>
              </a:r>
            </a:p>
          </p:txBody>
        </p:sp>
      </p:grpSp>
      <p:sp>
        <p:nvSpPr>
          <p:cNvPr id="12" name="Working Draft 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07341" y="928115"/>
            <a:ext cx="4146792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8" dirty="0" err="1">
                <a:solidFill>
                  <a:srgbClr val="6D6F71"/>
                </a:solidFill>
                <a:latin typeface="Arial" charset="0"/>
                <a:cs typeface="Arial"/>
              </a:rPr>
              <a:t>Working</a:t>
            </a:r>
            <a:r>
              <a:rPr lang="fr-FR" sz="1108" dirty="0">
                <a:solidFill>
                  <a:srgbClr val="6D6F71"/>
                </a:solidFill>
                <a:latin typeface="Arial" charset="0"/>
                <a:cs typeface="Arial"/>
              </a:rPr>
              <a:t> </a:t>
            </a:r>
            <a:r>
              <a:rPr lang="fr-FR" sz="1108" dirty="0" err="1">
                <a:solidFill>
                  <a:srgbClr val="6D6F71"/>
                </a:solidFill>
                <a:latin typeface="Arial" charset="0"/>
                <a:cs typeface="Arial"/>
              </a:rPr>
              <a:t>Draft</a:t>
            </a:r>
            <a:r>
              <a:rPr lang="fr-FR" sz="1108" dirty="0">
                <a:solidFill>
                  <a:srgbClr val="6D6F71"/>
                </a:solidFill>
                <a:latin typeface="Arial" charset="0"/>
                <a:cs typeface="Arial"/>
              </a:rPr>
              <a:t>    </a:t>
            </a:r>
          </a:p>
        </p:txBody>
      </p:sp>
      <p:sp>
        <p:nvSpPr>
          <p:cNvPr id="13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07351" y="1143548"/>
            <a:ext cx="3739806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8" dirty="0">
                <a:solidFill>
                  <a:srgbClr val="6D6F71"/>
                </a:solidFill>
                <a:latin typeface="Arial" charset="0"/>
                <a:cs typeface="Arial"/>
              </a:rPr>
              <a:t>Last Modified 02/12/2009 21:08:06 Morocco Standard Time</a:t>
            </a:r>
            <a:endParaRPr lang="fr-FR" sz="1108" dirty="0">
              <a:solidFill>
                <a:srgbClr val="6D6F71"/>
              </a:solidFill>
              <a:latin typeface="Arial" charset="0"/>
              <a:cs typeface="Arial"/>
            </a:endParaRPr>
          </a:p>
        </p:txBody>
      </p:sp>
      <p:sp>
        <p:nvSpPr>
          <p:cNvPr id="14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07344" y="1360596"/>
            <a:ext cx="3117841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8" dirty="0">
                <a:solidFill>
                  <a:srgbClr val="6D6F71"/>
                </a:solidFill>
                <a:latin typeface="Arial" charset="0"/>
                <a:cs typeface="Arial"/>
              </a:rPr>
              <a:t>Printed 31/07/2009 16:35:30 GMT Standard Time</a:t>
            </a:r>
            <a:endParaRPr lang="fr-FR" sz="1108" dirty="0">
              <a:solidFill>
                <a:srgbClr val="6D6F71"/>
              </a:solidFill>
              <a:latin typeface="Arial" charset="0"/>
              <a:cs typeface="Arial"/>
            </a:endParaRPr>
          </a:p>
        </p:txBody>
      </p:sp>
      <p:pic>
        <p:nvPicPr>
          <p:cNvPr id="21" name="Image 20" descr="logo_texte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1087031" y="6040964"/>
            <a:ext cx="1104885" cy="833375"/>
          </a:xfrm>
          <a:prstGeom prst="rect">
            <a:avLst/>
          </a:prstGeom>
        </p:spPr>
      </p:pic>
      <p:pic>
        <p:nvPicPr>
          <p:cNvPr id="15" name="Image 14" descr="bandeau_sommaire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0" y="0"/>
            <a:ext cx="1219200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84439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4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McK Title Elements"/>
          <p:cNvGrpSpPr>
            <a:grpSpLocks/>
          </p:cNvGrpSpPr>
          <p:nvPr/>
        </p:nvGrpSpPr>
        <p:grpSpPr bwMode="auto">
          <a:xfrm>
            <a:off x="3591728" y="2183426"/>
            <a:ext cx="6840045" cy="4541766"/>
            <a:chOff x="1663" y="1348"/>
            <a:chExt cx="3167" cy="2804"/>
          </a:xfrm>
        </p:grpSpPr>
        <p:sp>
          <p:nvSpPr>
            <p:cNvPr id="7" name="McK Confidential" hidden="1"/>
            <p:cNvSpPr txBox="1">
              <a:spLocks noChangeArrowheads="1"/>
            </p:cNvSpPr>
            <p:nvPr userDrawn="1"/>
          </p:nvSpPr>
          <p:spPr bwMode="gray">
            <a:xfrm>
              <a:off x="1663" y="1348"/>
              <a:ext cx="936" cy="1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292" dirty="0">
                  <a:solidFill>
                    <a:srgbClr val="6D6F71"/>
                  </a:solidFill>
                  <a:latin typeface="Arial" charset="0"/>
                  <a:cs typeface="Arial"/>
                </a:rPr>
                <a:t>CONFIDENTIAL</a:t>
              </a:r>
            </a:p>
          </p:txBody>
        </p:sp>
        <p:sp>
          <p:nvSpPr>
            <p:cNvPr id="8" name="McK Document" hidden="1"/>
            <p:cNvSpPr txBox="1">
              <a:spLocks noChangeArrowheads="1"/>
            </p:cNvSpPr>
            <p:nvPr userDrawn="1"/>
          </p:nvSpPr>
          <p:spPr bwMode="gray">
            <a:xfrm>
              <a:off x="1663" y="3062"/>
              <a:ext cx="3167" cy="1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292" dirty="0">
                  <a:solidFill>
                    <a:srgbClr val="6D6F71"/>
                  </a:solidFill>
                  <a:latin typeface="Arial" charset="0"/>
                  <a:cs typeface="Arial"/>
                </a:rPr>
                <a:t>Document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gray">
            <a:xfrm>
              <a:off x="1663" y="3216"/>
              <a:ext cx="3167" cy="1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1292" dirty="0">
                  <a:solidFill>
                    <a:srgbClr val="6D6F71"/>
                  </a:solidFill>
                  <a:latin typeface="Arial" charset="0"/>
                  <a:cs typeface="Arial"/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gray">
            <a:xfrm>
              <a:off x="1663" y="3915"/>
              <a:ext cx="3167" cy="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757329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This report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is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solely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for the use of client personnel.  No part of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it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may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be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circulated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,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quoted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, or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reproduced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for distribution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outside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the client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organization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without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prior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written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approval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from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McKinsey &amp;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Company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. This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material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was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used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by McKinsey &amp;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Company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during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an oral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presentation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;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it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is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not a </a:t>
              </a:r>
              <a:r>
                <a:rPr lang="fr-FR" sz="831" dirty="0" err="1">
                  <a:solidFill>
                    <a:srgbClr val="6D6F71"/>
                  </a:solidFill>
                  <a:latin typeface="Arial" charset="0"/>
                  <a:cs typeface="Arial"/>
                </a:rPr>
                <a:t>complete</a:t>
              </a:r>
              <a:r>
                <a:rPr lang="fr-FR" sz="831" dirty="0">
                  <a:solidFill>
                    <a:srgbClr val="6D6F71"/>
                  </a:solidFill>
                  <a:latin typeface="Arial" charset="0"/>
                  <a:cs typeface="Arial"/>
                </a:rPr>
                <a:t> record of the discussion</a:t>
              </a:r>
            </a:p>
          </p:txBody>
        </p:sp>
      </p:grpSp>
      <p:sp>
        <p:nvSpPr>
          <p:cNvPr id="12" name="Working Draft 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07341" y="928115"/>
            <a:ext cx="4146792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8" dirty="0" err="1">
                <a:solidFill>
                  <a:srgbClr val="6D6F71"/>
                </a:solidFill>
                <a:latin typeface="Arial" charset="0"/>
                <a:cs typeface="Arial"/>
              </a:rPr>
              <a:t>Working</a:t>
            </a:r>
            <a:r>
              <a:rPr lang="fr-FR" sz="1108" dirty="0">
                <a:solidFill>
                  <a:srgbClr val="6D6F71"/>
                </a:solidFill>
                <a:latin typeface="Arial" charset="0"/>
                <a:cs typeface="Arial"/>
              </a:rPr>
              <a:t> </a:t>
            </a:r>
            <a:r>
              <a:rPr lang="fr-FR" sz="1108" dirty="0" err="1">
                <a:solidFill>
                  <a:srgbClr val="6D6F71"/>
                </a:solidFill>
                <a:latin typeface="Arial" charset="0"/>
                <a:cs typeface="Arial"/>
              </a:rPr>
              <a:t>Draft</a:t>
            </a:r>
            <a:r>
              <a:rPr lang="fr-FR" sz="1108" dirty="0">
                <a:solidFill>
                  <a:srgbClr val="6D6F71"/>
                </a:solidFill>
                <a:latin typeface="Arial" charset="0"/>
                <a:cs typeface="Arial"/>
              </a:rPr>
              <a:t>    </a:t>
            </a:r>
          </a:p>
        </p:txBody>
      </p:sp>
      <p:sp>
        <p:nvSpPr>
          <p:cNvPr id="13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07351" y="1143548"/>
            <a:ext cx="3739806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8" dirty="0">
                <a:solidFill>
                  <a:srgbClr val="6D6F71"/>
                </a:solidFill>
                <a:latin typeface="Arial" charset="0"/>
                <a:cs typeface="Arial"/>
              </a:rPr>
              <a:t>Last Modified 02/12/2009 21:08:06 Morocco Standard Time</a:t>
            </a:r>
            <a:endParaRPr lang="fr-FR" sz="1108" dirty="0">
              <a:solidFill>
                <a:srgbClr val="6D6F71"/>
              </a:solidFill>
              <a:latin typeface="Arial" charset="0"/>
              <a:cs typeface="Arial"/>
            </a:endParaRPr>
          </a:p>
        </p:txBody>
      </p:sp>
      <p:sp>
        <p:nvSpPr>
          <p:cNvPr id="14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07344" y="1360596"/>
            <a:ext cx="3117841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8" dirty="0">
                <a:solidFill>
                  <a:srgbClr val="6D6F71"/>
                </a:solidFill>
                <a:latin typeface="Arial" charset="0"/>
                <a:cs typeface="Arial"/>
              </a:rPr>
              <a:t>Printed 31/07/2009 16:35:30 GMT Standard Time</a:t>
            </a:r>
            <a:endParaRPr lang="fr-FR" sz="1108" dirty="0">
              <a:solidFill>
                <a:srgbClr val="6D6F71"/>
              </a:solidFill>
              <a:latin typeface="Arial" charset="0"/>
              <a:cs typeface="Arial"/>
            </a:endParaRPr>
          </a:p>
        </p:txBody>
      </p:sp>
      <p:pic>
        <p:nvPicPr>
          <p:cNvPr id="21" name="Image 20" descr="logo_texte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1087031" y="6040964"/>
            <a:ext cx="1104885" cy="833375"/>
          </a:xfrm>
          <a:prstGeom prst="rect">
            <a:avLst/>
          </a:prstGeom>
        </p:spPr>
      </p:pic>
      <p:pic>
        <p:nvPicPr>
          <p:cNvPr id="15" name="Image 14" descr="bandeau_sommaire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0" y="0"/>
            <a:ext cx="1219200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53404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22041" indent="0" algn="ctr">
              <a:buNone/>
              <a:defRPr/>
            </a:lvl2pPr>
            <a:lvl3pPr marL="844083" indent="0" algn="ctr">
              <a:buNone/>
              <a:defRPr/>
            </a:lvl3pPr>
            <a:lvl4pPr marL="1266124" indent="0" algn="ctr">
              <a:buNone/>
              <a:defRPr/>
            </a:lvl4pPr>
            <a:lvl5pPr marL="1688165" indent="0" algn="ctr">
              <a:buNone/>
              <a:defRPr/>
            </a:lvl5pPr>
            <a:lvl6pPr marL="2110207" indent="0" algn="ctr">
              <a:buNone/>
              <a:defRPr/>
            </a:lvl6pPr>
            <a:lvl7pPr marL="2532248" indent="0" algn="ctr">
              <a:buNone/>
              <a:defRPr/>
            </a:lvl7pPr>
            <a:lvl8pPr marL="2954289" indent="0" algn="ctr">
              <a:buNone/>
              <a:defRPr/>
            </a:lvl8pPr>
            <a:lvl9pPr marL="3376331" indent="0" algn="ctr">
              <a:buNone/>
              <a:defRPr/>
            </a:lvl9pPr>
          </a:lstStyle>
          <a:p>
            <a:r>
              <a:rPr lang="fr-FR" dirty="0" smtClean="0"/>
              <a:t>Cliquez pour modifier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616080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fond_titr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 bwMode="white">
          <a:xfrm>
            <a:off x="1214402" y="765175"/>
            <a:ext cx="10116116" cy="1456636"/>
          </a:xfrm>
        </p:spPr>
        <p:txBody>
          <a:bodyPr anchor="b" anchorCtr="0">
            <a:noAutofit/>
          </a:bodyPr>
          <a:lstStyle>
            <a:lvl1pPr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gray">
          <a:xfrm>
            <a:off x="1214400" y="2329534"/>
            <a:ext cx="10116117" cy="1531267"/>
          </a:xfrm>
        </p:spPr>
        <p:txBody>
          <a:bodyPr>
            <a:noAutofit/>
          </a:bodyPr>
          <a:lstStyle>
            <a:lvl1pPr marL="0" indent="0" algn="l">
              <a:buNone/>
              <a:defRPr sz="2300" b="1">
                <a:solidFill>
                  <a:srgbClr val="82C39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680000" y="6859556"/>
            <a:ext cx="8858312" cy="295200"/>
          </a:xfrm>
        </p:spPr>
        <p:txBody>
          <a:bodyPr/>
          <a:lstStyle/>
          <a:p>
            <a:r>
              <a:rPr lang="fr-FR" smtClean="0"/>
              <a:t>Nom de la présentation - 00 mois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" y="6858001"/>
            <a:ext cx="1171993" cy="293687"/>
          </a:xfrm>
        </p:spPr>
        <p:txBody>
          <a:bodyPr/>
          <a:lstStyle/>
          <a:p>
            <a:fld id="{0BB632D2-51CC-4051-B81E-8B3143A8C732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22570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fond_chapitr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680000" y="866758"/>
            <a:ext cx="9650517" cy="1519024"/>
          </a:xfrm>
        </p:spPr>
        <p:txBody>
          <a:bodyPr anchor="b" anchorCtr="0">
            <a:noAutofit/>
          </a:bodyPr>
          <a:lstStyle>
            <a:lvl1pPr>
              <a:lnSpc>
                <a:spcPts val="28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680000" y="2413678"/>
            <a:ext cx="9650517" cy="1447123"/>
          </a:xfrm>
        </p:spPr>
        <p:txBody>
          <a:bodyPr>
            <a:noAutofit/>
          </a:bodyPr>
          <a:lstStyle>
            <a:lvl1pPr marL="0" indent="0" algn="l">
              <a:buNone/>
              <a:defRPr sz="1700" b="1">
                <a:solidFill>
                  <a:srgbClr val="82C39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680000" y="6145200"/>
            <a:ext cx="8858312" cy="29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Nom de la présentation - 00 mois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" y="6145201"/>
            <a:ext cx="1171993" cy="293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632D2-51CC-4051-B81E-8B3143A8C732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7334259" y="3860801"/>
            <a:ext cx="4158464" cy="2954361"/>
          </a:xfrm>
        </p:spPr>
        <p:txBody>
          <a:bodyPr anchor="b" anchorCtr="0">
            <a:noAutofit/>
          </a:bodyPr>
          <a:lstStyle>
            <a:lvl1pPr algn="r">
              <a:lnSpc>
                <a:spcPct val="100000"/>
              </a:lnSpc>
              <a:defRPr sz="19500" b="1">
                <a:solidFill>
                  <a:srgbClr val="C3D746"/>
                </a:solidFill>
              </a:defRPr>
            </a:lvl1pPr>
          </a:lstStyle>
          <a:p>
            <a:pPr lvl="0"/>
            <a:r>
              <a:rPr lang="fr-FR" dirty="0" smtClean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367667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Nom de la présentation - 00 mois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632D2-51CC-4051-B81E-8B3143A8C732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3653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578600" y="1658257"/>
            <a:ext cx="5613400" cy="39168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Nom de la présentation - 00 mois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632D2-51CC-4051-B81E-8B3143A8C732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3"/>
          </p:nvPr>
        </p:nvSpPr>
        <p:spPr>
          <a:xfrm>
            <a:off x="1092200" y="1659600"/>
            <a:ext cx="5003800" cy="4476750"/>
          </a:xfrm>
        </p:spPr>
        <p:txBody>
          <a:bodyPr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89554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bandeau_sommair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109728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80000" y="1"/>
            <a:ext cx="10250517" cy="908129"/>
          </a:xfrm>
        </p:spPr>
        <p:txBody>
          <a:bodyPr anchor="b" anchorCtr="0">
            <a:noAutofit/>
          </a:bodyPr>
          <a:lstStyle>
            <a:lvl1pPr algn="l">
              <a:defRPr sz="2400" b="1" cap="all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80000" y="2150374"/>
            <a:ext cx="10250517" cy="3989170"/>
          </a:xfrm>
        </p:spPr>
        <p:txBody>
          <a:bodyPr anchor="t" anchorCtr="0">
            <a:noAutofit/>
          </a:bodyPr>
          <a:lstStyle>
            <a:lvl1pPr marL="355600" indent="-355600">
              <a:lnSpc>
                <a:spcPts val="2200"/>
              </a:lnSpc>
              <a:spcAft>
                <a:spcPts val="2400"/>
              </a:spcAft>
              <a:buClr>
                <a:srgbClr val="61A322"/>
              </a:buClr>
              <a:buFont typeface="+mj-lt"/>
              <a:buAutoNum type="arabicPeriod"/>
              <a:defRPr sz="220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Nom de la présentation - 00 mois 2011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632D2-51CC-4051-B81E-8B3143A8C732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08841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rnie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fond_dernier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12839" y="2378070"/>
            <a:ext cx="11166323" cy="2189173"/>
          </a:xfrm>
        </p:spPr>
        <p:txBody>
          <a:bodyPr anchor="ctr" anchorCtr="0">
            <a:noAutofit/>
          </a:bodyPr>
          <a:lstStyle>
            <a:lvl1pPr algn="ctr">
              <a:defRPr sz="3500" cap="none" baseline="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1680000" y="6859556"/>
            <a:ext cx="8858312" cy="295200"/>
          </a:xfrm>
        </p:spPr>
        <p:txBody>
          <a:bodyPr/>
          <a:lstStyle/>
          <a:p>
            <a:r>
              <a:rPr lang="fr-FR" smtClean="0"/>
              <a:t>Nom de la présentation - 00 mois 2011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1" y="6858001"/>
            <a:ext cx="1171993" cy="293687"/>
          </a:xfrm>
        </p:spPr>
        <p:txBody>
          <a:bodyPr/>
          <a:lstStyle/>
          <a:p>
            <a:fld id="{0BB632D2-51CC-4051-B81E-8B3143A8C73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71819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A309A6D-C09C-4548-B29A-6CF363A7E532}" type="datetimeFigureOut">
              <a:rPr lang="fr-FR" smtClean="0"/>
              <a:pPr/>
              <a:t>15/05/2022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pPr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34902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2" descr="bandeau_sommair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"/>
            <a:ext cx="1219200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9"/>
          <p:cNvSpPr txBox="1">
            <a:spLocks noChangeArrowheads="1"/>
          </p:cNvSpPr>
          <p:nvPr userDrawn="1"/>
        </p:nvSpPr>
        <p:spPr bwMode="gray">
          <a:xfrm>
            <a:off x="1191848" y="6476833"/>
            <a:ext cx="8421077" cy="19877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fr-FR" sz="646" dirty="0">
                <a:solidFill>
                  <a:srgbClr val="A3A4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riété du Groupe OCP – Confidentiel.</a:t>
            </a:r>
          </a:p>
          <a:p>
            <a:pPr>
              <a:defRPr/>
            </a:pPr>
            <a:r>
              <a:rPr lang="fr-FR" sz="646" dirty="0">
                <a:solidFill>
                  <a:srgbClr val="A3A4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tte présentation, à votre seul usage interne, est indissociable des éléments de contexte qui ont permis de l’établir.</a:t>
            </a:r>
            <a:r>
              <a:rPr lang="en-US" sz="646" dirty="0">
                <a:solidFill>
                  <a:srgbClr val="A3A4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609600" y="142852"/>
            <a:ext cx="9882584" cy="785818"/>
          </a:xfrm>
          <a:prstGeom prst="rect">
            <a:avLst/>
          </a:prstGeom>
        </p:spPr>
        <p:txBody>
          <a:bodyPr anchor="b"/>
          <a:lstStyle>
            <a:lvl1pPr algn="l">
              <a:defRPr sz="2215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BE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0"/>
          </p:nvPr>
        </p:nvSpPr>
        <p:spPr>
          <a:xfrm>
            <a:off x="644731" y="2000240"/>
            <a:ext cx="10990461" cy="2928950"/>
          </a:xfrm>
        </p:spPr>
        <p:txBody>
          <a:bodyPr>
            <a:normAutofit/>
          </a:bodyPr>
          <a:lstStyle>
            <a:lvl1pPr marL="316529" marR="0" indent="-316529" algn="l" defTabSz="844078" rtl="0" eaLnBrk="1" fontAlgn="auto" latinLnBrk="0" hangingPunct="1">
              <a:lnSpc>
                <a:spcPct val="100000"/>
              </a:lnSpc>
              <a:spcBef>
                <a:spcPts val="1108"/>
              </a:spcBef>
              <a:spcAft>
                <a:spcPts val="554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 sz="1846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8568" marR="0" indent="-316529" algn="l" defTabSz="844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554"/>
              </a:spcAft>
              <a:buClr>
                <a:schemeClr val="accent1"/>
              </a:buClr>
              <a:buSzTx/>
              <a:buFont typeface="+mj-lt"/>
              <a:buAutoNum type="alphaLcPeriod"/>
              <a:tabLst/>
              <a:defRPr sz="1662" b="1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3362" marR="0" indent="-369284" algn="l" defTabSz="844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554"/>
              </a:spcAft>
              <a:buClr>
                <a:schemeClr val="accent1"/>
              </a:buClr>
              <a:buSzTx/>
              <a:buFont typeface="+mj-lt"/>
              <a:buAutoNum type="romanLcPeriod"/>
              <a:tabLst/>
              <a:defRPr sz="1477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 bwMode="gray">
          <a:xfrm>
            <a:off x="0" y="6429375"/>
            <a:ext cx="908539" cy="29368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738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8F01B3B-C40D-4291-9439-0A35F170AABB}" type="slidenum">
              <a:rPr lang="fr-FR" smtClean="0">
                <a:solidFill>
                  <a:srgbClr val="40A026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40A0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25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9995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fond_titr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 bwMode="white">
          <a:xfrm>
            <a:off x="1214403" y="765175"/>
            <a:ext cx="10116116" cy="1456636"/>
          </a:xfrm>
        </p:spPr>
        <p:txBody>
          <a:bodyPr anchor="b" anchorCtr="0">
            <a:noAutofit/>
          </a:bodyPr>
          <a:lstStyle>
            <a:lvl1pPr>
              <a:lnSpc>
                <a:spcPts val="2316"/>
              </a:lnSpc>
              <a:defRPr sz="2316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gray">
          <a:xfrm>
            <a:off x="1214401" y="2329538"/>
            <a:ext cx="10116117" cy="1531267"/>
          </a:xfrm>
        </p:spPr>
        <p:txBody>
          <a:bodyPr>
            <a:noAutofit/>
          </a:bodyPr>
          <a:lstStyle>
            <a:lvl1pPr marL="0" indent="0" algn="l">
              <a:buNone/>
              <a:defRPr sz="1402" b="1">
                <a:solidFill>
                  <a:srgbClr val="82C391"/>
                </a:solidFill>
              </a:defRPr>
            </a:lvl1pPr>
            <a:lvl2pPr marL="27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57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35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93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716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950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680001" y="6859556"/>
            <a:ext cx="8858313" cy="2952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2" y="6858005"/>
            <a:ext cx="1171993" cy="293687"/>
          </a:xfrm>
          <a:prstGeom prst="rect">
            <a:avLst/>
          </a:prstGeom>
        </p:spPr>
        <p:txBody>
          <a:bodyPr/>
          <a:lstStyle/>
          <a:p>
            <a:fld id="{7CC1B13F-9994-4498-A930-FABEDCC928D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77994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 descr="fond_chapitr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680000" y="866758"/>
            <a:ext cx="9650517" cy="1519024"/>
          </a:xfrm>
        </p:spPr>
        <p:txBody>
          <a:bodyPr/>
          <a:lstStyle>
            <a:lvl1pPr>
              <a:lnSpc>
                <a:spcPts val="28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680000" y="2413678"/>
            <a:ext cx="9650517" cy="1447123"/>
          </a:xfrm>
        </p:spPr>
        <p:txBody>
          <a:bodyPr>
            <a:noAutofit/>
          </a:bodyPr>
          <a:lstStyle>
            <a:lvl1pPr marL="0" indent="0" algn="l">
              <a:buNone/>
              <a:defRPr sz="1700" b="1">
                <a:solidFill>
                  <a:srgbClr val="82C39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-586318" y="6453189"/>
            <a:ext cx="1172635" cy="293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061F76D-C619-4E00-8B47-5DCEF800A4FF}" type="slidenum">
              <a:rPr lang="fr-FR" altLang="fr-FR">
                <a:solidFill>
                  <a:prstClr val="white"/>
                </a:solidFill>
              </a:rPr>
              <a:pPr>
                <a:defRPr/>
              </a:pPr>
              <a:t>‹N°›</a:t>
            </a:fld>
            <a:endParaRPr lang="fr-FR" alt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2904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princip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2" descr="bandeau_text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1258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Image 3" descr="logo_text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83281" y="6110292"/>
            <a:ext cx="676031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9882584" cy="785818"/>
          </a:xfrm>
          <a:prstGeom prst="rect">
            <a:avLst/>
          </a:prstGeom>
        </p:spPr>
        <p:txBody>
          <a:bodyPr anchor="b"/>
          <a:lstStyle>
            <a:lvl1pPr algn="l">
              <a:defRPr sz="2215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BE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0"/>
          </p:nvPr>
        </p:nvSpPr>
        <p:spPr>
          <a:xfrm>
            <a:off x="644785" y="1571612"/>
            <a:ext cx="10902487" cy="450059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 userDrawn="1">
            <p:ph type="sldNum" sz="quarter" idx="11"/>
          </p:nvPr>
        </p:nvSpPr>
        <p:spPr bwMode="gray">
          <a:xfrm>
            <a:off x="0" y="6429375"/>
            <a:ext cx="908539" cy="29368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738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F1107E-3D93-44AF-9108-744D1119F77A}" type="slidenum">
              <a:rPr lang="fr-FR" smtClean="0">
                <a:solidFill>
                  <a:srgbClr val="40A026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40A0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44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3" descr="bandeau_texte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1258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age 4" descr="logo_text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83281" y="6110292"/>
            <a:ext cx="676031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9"/>
          <p:cNvSpPr txBox="1">
            <a:spLocks noChangeArrowheads="1"/>
          </p:cNvSpPr>
          <p:nvPr userDrawn="1"/>
        </p:nvSpPr>
        <p:spPr bwMode="gray">
          <a:xfrm>
            <a:off x="1191848" y="6476833"/>
            <a:ext cx="8421077" cy="19877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fr-FR" sz="646" dirty="0">
                <a:solidFill>
                  <a:srgbClr val="A3A4AF"/>
                </a:solidFill>
                <a:cs typeface="Times New Roman" pitchFamily="18" charset="0"/>
              </a:rPr>
              <a:t>Propriété du Groupe OCP – Confidentiel.</a:t>
            </a:r>
          </a:p>
          <a:p>
            <a:pPr>
              <a:defRPr/>
            </a:pPr>
            <a:r>
              <a:rPr lang="fr-FR" sz="646" dirty="0">
                <a:solidFill>
                  <a:srgbClr val="A3A4AF"/>
                </a:solidFill>
                <a:cs typeface="Times New Roman" pitchFamily="18" charset="0"/>
              </a:rPr>
              <a:t>Cette présentation, à votre seul usage interne, est indissociable des éléments de contexte qui ont permis de l’établir.</a:t>
            </a:r>
            <a:r>
              <a:rPr lang="en-US" sz="646" dirty="0">
                <a:solidFill>
                  <a:srgbClr val="A3A4AF"/>
                </a:solidFill>
                <a:cs typeface="Times New Roman" pitchFamily="18" charset="0"/>
              </a:rPr>
              <a:t> 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9882584" cy="785818"/>
          </a:xfrm>
          <a:prstGeom prst="rect">
            <a:avLst/>
          </a:prstGeom>
        </p:spPr>
        <p:txBody>
          <a:bodyPr anchor="b"/>
          <a:lstStyle>
            <a:lvl1pPr algn="l">
              <a:defRPr sz="2215" b="1">
                <a:solidFill>
                  <a:schemeClr val="accent1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BE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0"/>
          </p:nvPr>
        </p:nvSpPr>
        <p:spPr>
          <a:xfrm>
            <a:off x="644785" y="1571612"/>
            <a:ext cx="5187447" cy="4500594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1"/>
          </p:nvPr>
        </p:nvSpPr>
        <p:spPr>
          <a:xfrm>
            <a:off x="6359773" y="1571612"/>
            <a:ext cx="5187497" cy="4500594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0" y="6429375"/>
            <a:ext cx="908539" cy="29368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738" b="1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44CA2CE-8F47-4397-AF4D-B2EE9CD9EB58}" type="slidenum">
              <a:rPr lang="fr-FR">
                <a:solidFill>
                  <a:srgbClr val="40A026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40A026"/>
              </a:solidFill>
            </a:endParaRPr>
          </a:p>
        </p:txBody>
      </p:sp>
      <p:grpSp>
        <p:nvGrpSpPr>
          <p:cNvPr id="11" name="Group 181"/>
          <p:cNvGrpSpPr/>
          <p:nvPr userDrawn="1">
            <p:custDataLst>
              <p:tags r:id="rId1"/>
            </p:custDataLst>
          </p:nvPr>
        </p:nvGrpSpPr>
        <p:grpSpPr>
          <a:xfrm>
            <a:off x="11148070" y="116634"/>
            <a:ext cx="918442" cy="182985"/>
            <a:chOff x="7991379" y="285750"/>
            <a:chExt cx="746221" cy="198234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auto">
            <a:xfrm>
              <a:off x="7991379" y="285750"/>
              <a:ext cx="746221" cy="1982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5322" tIns="0" rIns="0" bIns="25322">
              <a:spAutoFit/>
            </a:bodyPr>
            <a:lstStyle/>
            <a:p>
              <a:pPr algn="r" defTabSz="762940" fontAlgn="base">
                <a:spcBef>
                  <a:spcPct val="0"/>
                </a:spcBef>
                <a:spcAft>
                  <a:spcPct val="0"/>
                </a:spcAft>
                <a:buClr>
                  <a:srgbClr val="298F16"/>
                </a:buClr>
              </a:pPr>
              <a:r>
                <a:rPr lang="fr-BE" sz="1023" dirty="0" smtClean="0">
                  <a:solidFill>
                    <a:srgbClr val="808080"/>
                  </a:solidFill>
                  <a:latin typeface="Arial"/>
                  <a:cs typeface="Arial" pitchFamily="34" charset="0"/>
                </a:rPr>
                <a:t>PRELIMINARY</a:t>
              </a:r>
              <a:endParaRPr lang="fr-BE" sz="1023" dirty="0">
                <a:solidFill>
                  <a:srgbClr val="808080"/>
                </a:solidFill>
                <a:latin typeface="Arial"/>
                <a:cs typeface="Arial" pitchFamily="34" charset="0"/>
              </a:endParaRPr>
            </a:p>
          </p:txBody>
        </p:sp>
        <p:cxnSp>
          <p:nvCxnSpPr>
            <p:cNvPr id="15" name="AutoShape 31"/>
            <p:cNvCxnSpPr>
              <a:cxnSpLocks noChangeShapeType="1"/>
              <a:stCxn id="13" idx="2"/>
              <a:endCxn id="13" idx="4"/>
            </p:cNvCxnSpPr>
            <p:nvPr/>
          </p:nvCxnSpPr>
          <p:spPr bwMode="auto">
            <a:xfrm>
              <a:off x="7991379" y="285750"/>
              <a:ext cx="0" cy="1982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  <a:stCxn id="13" idx="4"/>
              <a:endCxn id="13" idx="6"/>
            </p:cNvCxnSpPr>
            <p:nvPr/>
          </p:nvCxnSpPr>
          <p:spPr bwMode="auto">
            <a:xfrm>
              <a:off x="7991379" y="483984"/>
              <a:ext cx="74622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61679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6107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ô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3" descr="fond_dernier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776618" y="2971800"/>
            <a:ext cx="10638767" cy="914400"/>
          </a:xfrm>
        </p:spPr>
        <p:txBody>
          <a:bodyPr>
            <a:noAutofit/>
          </a:bodyPr>
          <a:lstStyle>
            <a:lvl1pPr algn="ctr">
              <a:defRPr sz="323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49742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271" y="4407331"/>
            <a:ext cx="10362660" cy="946413"/>
          </a:xfrm>
          <a:prstGeom prst="rect">
            <a:avLst/>
          </a:prstGeom>
        </p:spPr>
        <p:txBody>
          <a:bodyPr anchor="t"/>
          <a:lstStyle>
            <a:lvl1pPr algn="l">
              <a:defRPr sz="2839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271" y="2907443"/>
            <a:ext cx="10362660" cy="1499884"/>
          </a:xfrm>
          <a:prstGeom prst="rect">
            <a:avLst/>
          </a:prstGeom>
        </p:spPr>
        <p:txBody>
          <a:bodyPr lIns="93282" tIns="46641" rIns="93282" bIns="46641" anchor="b"/>
          <a:lstStyle>
            <a:lvl1pPr marL="0" indent="0">
              <a:buNone/>
              <a:defRPr sz="1385"/>
            </a:lvl1pPr>
            <a:lvl2pPr marL="322908" indent="0">
              <a:buNone/>
              <a:defRPr sz="1246"/>
            </a:lvl2pPr>
            <a:lvl3pPr marL="645816" indent="0">
              <a:buNone/>
              <a:defRPr sz="1108"/>
            </a:lvl3pPr>
            <a:lvl4pPr marL="968723" indent="0">
              <a:buNone/>
              <a:defRPr sz="969"/>
            </a:lvl4pPr>
            <a:lvl5pPr marL="1291633" indent="0">
              <a:buNone/>
              <a:defRPr sz="969"/>
            </a:lvl5pPr>
            <a:lvl6pPr marL="1614542" indent="0">
              <a:buNone/>
              <a:defRPr sz="969"/>
            </a:lvl6pPr>
            <a:lvl7pPr marL="1937448" indent="0">
              <a:buNone/>
              <a:defRPr sz="969"/>
            </a:lvl7pPr>
            <a:lvl8pPr marL="2260357" indent="0">
              <a:buNone/>
              <a:defRPr sz="969"/>
            </a:lvl8pPr>
            <a:lvl9pPr marL="2583265" indent="0">
              <a:buNone/>
              <a:defRPr sz="969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80735375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auto">
          <a:xfrm>
            <a:off x="1079501" y="2"/>
            <a:ext cx="10251017" cy="906463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1680633" y="6145216"/>
            <a:ext cx="8858251" cy="295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686A78"/>
                </a:solidFill>
                <a:latin typeface="Arial" pitchFamily="34" charset="0"/>
                <a:cs typeface="Arial" pitchFamily="34" charset="0"/>
              </a:rPr>
              <a:t>Nom de la présentation - 00 mois 2011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1"/>
          </p:nvPr>
        </p:nvSpPr>
        <p:spPr>
          <a:xfrm>
            <a:off x="2" y="6143625"/>
            <a:ext cx="1172633" cy="2936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6198CAF-2D64-42A2-B1D6-976C4BBFAA23}" type="slidenum">
              <a:rPr lang="fr-FR">
                <a:solidFill>
                  <a:srgbClr val="686A78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>
              <a:solidFill>
                <a:srgbClr val="686A78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3492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3291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6.jpe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957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16" imgW="407" imgH="409" progId="TCLayout.ActiveDocument.1">
                  <p:embed/>
                </p:oleObj>
              </mc:Choice>
              <mc:Fallback>
                <p:oleObj name="Diapositive think-cell" r:id="rId16" imgW="407" imgH="409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7" y="1592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09600" y="1571625"/>
            <a:ext cx="10972800" cy="455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 smtClean="0"/>
          </a:p>
        </p:txBody>
      </p:sp>
    </p:spTree>
    <p:extLst>
      <p:ext uri="{BB962C8B-B14F-4D97-AF65-F5344CB8AC3E}">
        <p14:creationId xmlns:p14="http://schemas.microsoft.com/office/powerpoint/2010/main" val="1636934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Calibri" pitchFamily="34" charset="0"/>
        </a:defRPr>
      </a:lvl5pPr>
      <a:lvl6pPr marL="422039" algn="ctr" rtl="0" fontAlgn="base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Verdana" pitchFamily="34" charset="0"/>
        </a:defRPr>
      </a:lvl6pPr>
      <a:lvl7pPr marL="844078" algn="ctr" rtl="0" fontAlgn="base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Verdana" pitchFamily="34" charset="0"/>
        </a:defRPr>
      </a:lvl7pPr>
      <a:lvl8pPr marL="1266117" algn="ctr" rtl="0" fontAlgn="base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Verdana" pitchFamily="34" charset="0"/>
        </a:defRPr>
      </a:lvl8pPr>
      <a:lvl9pPr marL="1688155" algn="ctr" rtl="0" fontAlgn="base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Verdana" pitchFamily="34" charset="0"/>
        </a:defRPr>
      </a:lvl9pPr>
    </p:titleStyle>
    <p:bodyStyle>
      <a:lvl1pPr marL="316529" indent="-316529" algn="l" rtl="0" eaLnBrk="0" fontAlgn="base" hangingPunct="0">
        <a:spcBef>
          <a:spcPts val="554"/>
        </a:spcBef>
        <a:spcAft>
          <a:spcPts val="277"/>
        </a:spcAft>
        <a:buFont typeface="Arial" pitchFamily="34" charset="0"/>
        <a:defRPr lang="fr-FR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13" indent="-2637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1055097" indent="-211020" algn="l" rtl="0" eaLnBrk="0" fontAlgn="base" hangingPunct="0">
        <a:spcBef>
          <a:spcPct val="20000"/>
        </a:spcBef>
        <a:spcAft>
          <a:spcPct val="0"/>
        </a:spcAft>
        <a:buFont typeface="Verdana" pitchFamily="34" charset="0"/>
        <a:buChar char="–"/>
        <a:defRPr sz="1292" kern="1200">
          <a:solidFill>
            <a:schemeClr val="tx1"/>
          </a:solidFill>
          <a:latin typeface="+mn-lt"/>
          <a:ea typeface="+mn-ea"/>
          <a:cs typeface="+mn-cs"/>
        </a:defRPr>
      </a:lvl3pPr>
      <a:lvl4pPr marL="1477136" indent="-21102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ü"/>
        <a:defRPr sz="1292" kern="1200">
          <a:solidFill>
            <a:schemeClr val="tx1"/>
          </a:solidFill>
          <a:latin typeface="+mn-lt"/>
          <a:ea typeface="+mn-ea"/>
          <a:cs typeface="+mn-cs"/>
        </a:defRPr>
      </a:lvl4pPr>
      <a:lvl5pPr marL="1899175" indent="-21102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92" kern="1200">
          <a:solidFill>
            <a:schemeClr val="tx1"/>
          </a:solidFill>
          <a:latin typeface="+mn-lt"/>
          <a:ea typeface="+mn-ea"/>
          <a:cs typeface="+mn-cs"/>
        </a:defRPr>
      </a:lvl5pPr>
      <a:lvl6pPr marL="2321213" indent="-211020" algn="l" defTabSz="844078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3" indent="-211020" algn="l" defTabSz="844078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291" indent="-211020" algn="l" defTabSz="844078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30" indent="-211020" algn="l" defTabSz="844078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3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1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logo_texte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10627200" y="5623486"/>
            <a:ext cx="940800" cy="816785"/>
          </a:xfrm>
          <a:prstGeom prst="rect">
            <a:avLst/>
          </a:prstGeom>
        </p:spPr>
      </p:pic>
      <p:pic>
        <p:nvPicPr>
          <p:cNvPr id="8" name="Image 7" descr="bandeau_texte.jp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0" y="0"/>
            <a:ext cx="12192000" cy="1385316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080000" y="0"/>
            <a:ext cx="10250517" cy="90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080000" y="1658257"/>
            <a:ext cx="10250517" cy="3916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680000" y="6145200"/>
            <a:ext cx="8858312" cy="295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1" cap="all" baseline="0">
                <a:solidFill>
                  <a:srgbClr val="61A322"/>
                </a:solidFill>
              </a:defRPr>
            </a:lvl1pPr>
          </a:lstStyle>
          <a:p>
            <a:r>
              <a:rPr lang="fr-FR" dirty="0" smtClean="0"/>
              <a:t>Nom de la présentation - 00 mois 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" y="6143645"/>
            <a:ext cx="1171993" cy="2936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rgbClr val="61A322"/>
                </a:solidFill>
              </a:defRPr>
            </a:lvl1pPr>
          </a:lstStyle>
          <a:p>
            <a:fld id="{0BB632D2-51CC-4051-B81E-8B3143A8C73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7989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400" b="1" kern="1200" cap="all" baseline="0">
          <a:solidFill>
            <a:srgbClr val="61A32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ts val="2400"/>
        </a:lnSpc>
        <a:spcBef>
          <a:spcPts val="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623888" indent="-174625" algn="l" defTabSz="914400" rtl="0" eaLnBrk="1" latinLnBrk="0" hangingPunct="1">
        <a:lnSpc>
          <a:spcPts val="2400"/>
        </a:lnSpc>
        <a:spcBef>
          <a:spcPts val="0"/>
        </a:spcBef>
        <a:buClr>
          <a:schemeClr val="accent2"/>
        </a:buClr>
        <a:buFont typeface="Arial" pitchFamily="34" charset="0"/>
        <a:buChar char="­"/>
        <a:defRPr sz="18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62388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62388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au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8639718"/>
              </p:ext>
            </p:extLst>
          </p:nvPr>
        </p:nvGraphicFramePr>
        <p:xfrm>
          <a:off x="10074536" y="1054250"/>
          <a:ext cx="2117464" cy="5803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7464">
                  <a:extLst>
                    <a:ext uri="{9D8B030D-6E8A-4147-A177-3AD203B41FA5}">
                      <a16:colId xmlns:a16="http://schemas.microsoft.com/office/drawing/2014/main" val="2719442833"/>
                    </a:ext>
                  </a:extLst>
                </a:gridCol>
              </a:tblGrid>
              <a:tr h="580375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7456252"/>
                  </a:ext>
                </a:extLst>
              </a:tr>
            </a:tbl>
          </a:graphicData>
        </a:graphic>
      </p:graphicFrame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6769" y="1366221"/>
            <a:ext cx="1600368" cy="1474358"/>
          </a:xfrm>
          <a:prstGeom prst="rect">
            <a:avLst/>
          </a:prstGeom>
        </p:spPr>
      </p:pic>
      <p:sp>
        <p:nvSpPr>
          <p:cNvPr id="9" name="Sous-titre 2"/>
          <p:cNvSpPr txBox="1">
            <a:spLocks/>
          </p:cNvSpPr>
          <p:nvPr/>
        </p:nvSpPr>
        <p:spPr>
          <a:xfrm>
            <a:off x="201593" y="327976"/>
            <a:ext cx="11588787" cy="763925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316529" indent="-316529" algn="l" rtl="0" eaLnBrk="0" fontAlgn="base" hangingPunct="0">
              <a:spcBef>
                <a:spcPts val="554"/>
              </a:spcBef>
              <a:spcAft>
                <a:spcPts val="277"/>
              </a:spcAft>
              <a:buFont typeface="Arial" pitchFamily="34" charset="0"/>
              <a:defRPr lang="fr-FR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3" indent="-263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5097" indent="-21102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–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7136" indent="-21102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9175" indent="-21102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13" indent="-211020" algn="l" defTabSz="8440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3" indent="-211020" algn="l" defTabSz="8440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291" indent="-211020" algn="l" defTabSz="8440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30" indent="-211020" algn="l" defTabSz="8440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i="1" dirty="0" smtClean="0">
                <a:solidFill>
                  <a:schemeClr val="accent1"/>
                </a:solidFill>
                <a:latin typeface="Verdana"/>
              </a:rPr>
              <a:t>Sujet proposé : Résolution &amp; Prototypage d’une problématique : </a:t>
            </a:r>
            <a:r>
              <a:rPr lang="fr-FR" sz="2800" i="1" dirty="0" err="1" smtClean="0">
                <a:solidFill>
                  <a:schemeClr val="accent1"/>
                </a:solidFill>
                <a:latin typeface="Verdana"/>
              </a:rPr>
              <a:t>Vehicle</a:t>
            </a:r>
            <a:r>
              <a:rPr lang="fr-FR" sz="2800" i="1" dirty="0" smtClean="0">
                <a:solidFill>
                  <a:schemeClr val="accent1"/>
                </a:solidFill>
                <a:latin typeface="Verdana"/>
              </a:rPr>
              <a:t> </a:t>
            </a:r>
            <a:r>
              <a:rPr lang="fr-FR" sz="2800" i="1" dirty="0" err="1" smtClean="0">
                <a:solidFill>
                  <a:schemeClr val="accent1"/>
                </a:solidFill>
                <a:latin typeface="Verdana"/>
              </a:rPr>
              <a:t>Routing</a:t>
            </a:r>
            <a:r>
              <a:rPr lang="fr-FR" sz="2800" i="1" dirty="0" smtClean="0">
                <a:solidFill>
                  <a:schemeClr val="accent1"/>
                </a:solidFill>
                <a:latin typeface="Verdana"/>
              </a:rPr>
              <a:t> </a:t>
            </a:r>
            <a:r>
              <a:rPr lang="fr-FR" sz="2800" i="1" dirty="0" err="1" smtClean="0">
                <a:solidFill>
                  <a:schemeClr val="accent1"/>
                </a:solidFill>
                <a:latin typeface="Verdana"/>
              </a:rPr>
              <a:t>Problem</a:t>
            </a:r>
            <a:r>
              <a:rPr lang="fr-FR" sz="2800" i="1" dirty="0" smtClean="0">
                <a:solidFill>
                  <a:schemeClr val="accent1"/>
                </a:solidFill>
                <a:latin typeface="Verdana"/>
              </a:rPr>
              <a:t> (SBRP)</a:t>
            </a:r>
            <a:endParaRPr lang="fr-FR" sz="2800" i="1" dirty="0">
              <a:solidFill>
                <a:schemeClr val="accent1"/>
              </a:solidFill>
              <a:latin typeface="Verdana"/>
            </a:endParaRPr>
          </a:p>
        </p:txBody>
      </p:sp>
      <p:grpSp>
        <p:nvGrpSpPr>
          <p:cNvPr id="15" name="Groupe 14"/>
          <p:cNvGrpSpPr/>
          <p:nvPr/>
        </p:nvGrpSpPr>
        <p:grpSpPr>
          <a:xfrm>
            <a:off x="10260105" y="1413555"/>
            <a:ext cx="1746325" cy="5127093"/>
            <a:chOff x="10165676" y="1424309"/>
            <a:chExt cx="1746325" cy="5005788"/>
          </a:xfrm>
        </p:grpSpPr>
        <p:pic>
          <p:nvPicPr>
            <p:cNvPr id="6" name="Imag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165676" y="3227097"/>
              <a:ext cx="1746325" cy="1688951"/>
            </a:xfrm>
            <a:prstGeom prst="rect">
              <a:avLst/>
            </a:prstGeom>
          </p:spPr>
        </p:pic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165676" y="4958000"/>
              <a:ext cx="1746325" cy="1472097"/>
            </a:xfrm>
            <a:prstGeom prst="rect">
              <a:avLst/>
            </a:prstGeom>
          </p:spPr>
        </p:pic>
        <p:pic>
          <p:nvPicPr>
            <p:cNvPr id="10" name="Imag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165676" y="1424309"/>
              <a:ext cx="1746325" cy="1760836"/>
            </a:xfrm>
            <a:prstGeom prst="rect">
              <a:avLst/>
            </a:prstGeom>
          </p:spPr>
        </p:pic>
      </p:grpSp>
      <p:pic>
        <p:nvPicPr>
          <p:cNvPr id="11" name="Imag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8992" y="3092823"/>
            <a:ext cx="1687382" cy="1511617"/>
          </a:xfrm>
          <a:prstGeom prst="rect">
            <a:avLst/>
          </a:prstGeom>
        </p:spPr>
      </p:pic>
      <p:sp>
        <p:nvSpPr>
          <p:cNvPr id="13" name="Sous-titre 2"/>
          <p:cNvSpPr txBox="1">
            <a:spLocks/>
          </p:cNvSpPr>
          <p:nvPr/>
        </p:nvSpPr>
        <p:spPr>
          <a:xfrm>
            <a:off x="326455" y="1877011"/>
            <a:ext cx="9144000" cy="2963930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316529" indent="-316529" algn="l" rtl="0" eaLnBrk="0" fontAlgn="base" hangingPunct="0">
              <a:spcBef>
                <a:spcPts val="554"/>
              </a:spcBef>
              <a:spcAft>
                <a:spcPts val="277"/>
              </a:spcAft>
              <a:buFont typeface="Arial" pitchFamily="34" charset="0"/>
              <a:defRPr lang="fr-FR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13" indent="-263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5097" indent="-21102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–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7136" indent="-21102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9175" indent="-21102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13" indent="-211020" algn="l" defTabSz="8440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3" indent="-211020" algn="l" defTabSz="8440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291" indent="-211020" algn="l" defTabSz="8440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30" indent="-211020" algn="l" defTabSz="8440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A votre disposition :</a:t>
            </a:r>
          </a:p>
          <a:p>
            <a:pPr lvl="1"/>
            <a:r>
              <a:rPr lang="fr-FR" sz="2800" dirty="0" smtClean="0"/>
              <a:t>Les hypothèses </a:t>
            </a:r>
            <a:r>
              <a:rPr lang="fr-FR" sz="2800" dirty="0"/>
              <a:t>encadrant la formulation du problème</a:t>
            </a:r>
          </a:p>
          <a:p>
            <a:pPr lvl="1"/>
            <a:r>
              <a:rPr lang="fr-FR" sz="2800" dirty="0"/>
              <a:t>Les contraintes nécessaires pour la modélisation du problème</a:t>
            </a:r>
          </a:p>
          <a:p>
            <a:r>
              <a:rPr lang="fr-FR" sz="2800" dirty="0"/>
              <a:t>T</a:t>
            </a:r>
            <a:r>
              <a:rPr lang="fr-FR" sz="2800" dirty="0" smtClean="0"/>
              <a:t>ravail demandé :</a:t>
            </a:r>
          </a:p>
          <a:p>
            <a:pPr lvl="1"/>
            <a:r>
              <a:rPr lang="fr-FR" sz="2800" dirty="0" smtClean="0"/>
              <a:t>Le modèle mathématique de résolution </a:t>
            </a:r>
          </a:p>
          <a:p>
            <a:pPr lvl="1"/>
            <a:r>
              <a:rPr lang="fr-FR" sz="2800" dirty="0" smtClean="0"/>
              <a:t>Le prototypage de la solution </a:t>
            </a:r>
          </a:p>
          <a:p>
            <a:endParaRPr lang="fr-FR" sz="4800" dirty="0"/>
          </a:p>
        </p:txBody>
      </p:sp>
    </p:spTree>
    <p:extLst>
      <p:ext uri="{BB962C8B-B14F-4D97-AF65-F5344CB8AC3E}">
        <p14:creationId xmlns:p14="http://schemas.microsoft.com/office/powerpoint/2010/main" val="21494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gDmBsB6kqZSDCgxutx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ADYxcPDE2Ny65IRRWo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zFPOK_IU6EpMSRYA.x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tHjFAKQku7MZa3EMmu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gDmBsB6kqZSDCgxutx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ADYxcPDE2Ny65IRRWo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tHjFAKQku7MZa3EMmuxg"/>
</p:tagLst>
</file>

<file path=ppt/theme/theme1.xml><?xml version="1.0" encoding="utf-8"?>
<a:theme xmlns:a="http://schemas.openxmlformats.org/drawingml/2006/main" name="1_Thème Office">
  <a:themeElements>
    <a:clrScheme name="OCP Consulting">
      <a:dk1>
        <a:srgbClr val="686A78"/>
      </a:dk1>
      <a:lt1>
        <a:sysClr val="window" lastClr="FFFFFF"/>
      </a:lt1>
      <a:dk2>
        <a:srgbClr val="006600"/>
      </a:dk2>
      <a:lt2>
        <a:srgbClr val="EAEAEA"/>
      </a:lt2>
      <a:accent1>
        <a:srgbClr val="40A026"/>
      </a:accent1>
      <a:accent2>
        <a:srgbClr val="86BE4E"/>
      </a:accent2>
      <a:accent3>
        <a:srgbClr val="D6E480"/>
      </a:accent3>
      <a:accent4>
        <a:srgbClr val="E0ECB5"/>
      </a:accent4>
      <a:accent5>
        <a:srgbClr val="E7A631"/>
      </a:accent5>
      <a:accent6>
        <a:srgbClr val="A3A4AF"/>
      </a:accent6>
      <a:hlink>
        <a:srgbClr val="0000FF"/>
      </a:hlink>
      <a:folHlink>
        <a:srgbClr val="800080"/>
      </a:folHlink>
    </a:clrScheme>
    <a:fontScheme name="OC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CP_graph_v3">
  <a:themeElements>
    <a:clrScheme name="OCP">
      <a:dk1>
        <a:sysClr val="windowText" lastClr="000000"/>
      </a:dk1>
      <a:lt1>
        <a:sysClr val="window" lastClr="FFFFFF"/>
      </a:lt1>
      <a:dk2>
        <a:srgbClr val="C8CFD0"/>
      </a:dk2>
      <a:lt2>
        <a:srgbClr val="005882"/>
      </a:lt2>
      <a:accent1>
        <a:srgbClr val="F39F34"/>
      </a:accent1>
      <a:accent2>
        <a:srgbClr val="686A78"/>
      </a:accent2>
      <a:accent3>
        <a:srgbClr val="007C30"/>
      </a:accent3>
      <a:accent4>
        <a:srgbClr val="232153"/>
      </a:accent4>
      <a:accent5>
        <a:srgbClr val="A0141C"/>
      </a:accent5>
      <a:accent6>
        <a:srgbClr val="207068"/>
      </a:accent6>
      <a:hlink>
        <a:srgbClr val="82C391"/>
      </a:hlink>
      <a:folHlink>
        <a:srgbClr val="61A322"/>
      </a:folHlink>
    </a:clrScheme>
    <a:fontScheme name="OC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47625">
          <a:solidFill>
            <a:schemeClr val="tx1"/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9</TotalTime>
  <Words>47</Words>
  <Application>Microsoft Office PowerPoint</Application>
  <PresentationFormat>Grand écran</PresentationFormat>
  <Paragraphs>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</vt:i4>
      </vt:variant>
    </vt:vector>
  </HeadingPairs>
  <TitlesOfParts>
    <vt:vector size="10" baseType="lpstr">
      <vt:lpstr>Arial</vt:lpstr>
      <vt:lpstr>Calibri</vt:lpstr>
      <vt:lpstr>Times New Roman</vt:lpstr>
      <vt:lpstr>Verdana</vt:lpstr>
      <vt:lpstr>Wingdings</vt:lpstr>
      <vt:lpstr>1_Thème Office</vt:lpstr>
      <vt:lpstr>OCP_graph_v3</vt:lpstr>
      <vt:lpstr>Diapositive think-cell</vt:lpstr>
      <vt:lpstr>think-cell Slide</vt:lpstr>
      <vt:lpstr>Présentation PowerPoint</vt:lpstr>
    </vt:vector>
  </TitlesOfParts>
  <Company>O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AOUA Sidi mohamed</dc:creator>
  <cp:lastModifiedBy>NAOUA Sidi mohamed</cp:lastModifiedBy>
  <cp:revision>8</cp:revision>
  <dcterms:created xsi:type="dcterms:W3CDTF">2022-05-15T20:50:43Z</dcterms:created>
  <dcterms:modified xsi:type="dcterms:W3CDTF">2022-05-15T22:19:45Z</dcterms:modified>
</cp:coreProperties>
</file>